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7"/>
  </p:notesMasterIdLst>
  <p:handoutMasterIdLst>
    <p:handoutMasterId r:id="rId48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4" r:id="rId42"/>
    <p:sldId id="311" r:id="rId43"/>
    <p:sldId id="312" r:id="rId44"/>
    <p:sldId id="313" r:id="rId45"/>
    <p:sldId id="268" r:id="rId4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4"/>
            <p14:sldId id="311"/>
            <p14:sldId id="312"/>
            <p14:sldId id="313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622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pos="2835">
          <p15:clr>
            <a:srgbClr val="A4A3A4"/>
          </p15:clr>
        </p15:guide>
        <p15:guide id="15" pos="2925">
          <p15:clr>
            <a:srgbClr val="A4A3A4"/>
          </p15:clr>
        </p15:guide>
        <p15:guide id="16" pos="3742">
          <p15:clr>
            <a:srgbClr val="A4A3A4"/>
          </p15:clr>
        </p15:guide>
        <p15:guide id="17" pos="3833">
          <p15:clr>
            <a:srgbClr val="A4A3A4"/>
          </p15:clr>
        </p15:guide>
        <p15:guide id="18" pos="4649">
          <p15:clr>
            <a:srgbClr val="A4A3A4"/>
          </p15:clr>
        </p15:guide>
        <p15:guide id="19" pos="4740">
          <p15:clr>
            <a:srgbClr val="A4A3A4"/>
          </p15:clr>
        </p15:guide>
        <p15:guide id="20" pos="2018">
          <p15:clr>
            <a:srgbClr val="A4A3A4"/>
          </p15:clr>
        </p15:guide>
        <p15:guide id="21" pos="1927">
          <p15:clr>
            <a:srgbClr val="A4A3A4"/>
          </p15:clr>
        </p15:guide>
        <p15:guide id="22" pos="1111">
          <p15:clr>
            <a:srgbClr val="A4A3A4"/>
          </p15:clr>
        </p15:guide>
        <p15:guide id="23" pos="1020">
          <p15:clr>
            <a:srgbClr val="A4A3A4"/>
          </p15:clr>
        </p15:guide>
        <p15:guide id="24" pos="204">
          <p15:clr>
            <a:srgbClr val="A4A3A4"/>
          </p15:clr>
        </p15:guide>
        <p15:guide id="2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 varScale="1">
        <p:scale>
          <a:sx n="87" d="100"/>
          <a:sy n="87" d="100"/>
        </p:scale>
        <p:origin x="936" y="84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7 | Psychotherapists of New York City | 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they speak 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ation of “therapist density” in NYC by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6781800" y="2190750"/>
            <a:ext cx="1962150" cy="990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9" y="971550"/>
            <a:ext cx="6551107" cy="398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2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1187301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ons for future resea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?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llect additional data at zip level, e.g., number of people working in each zip code, to further study possible causes of differing therapist density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Practical Implications of this data set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considering opening a practice in a given NYC zip code could gain valuable insights that allow them to differentiate themselves from competitor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ank you!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&amp;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d 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Props1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4AB0903-C811-4386-89A0-517F35E2B28C}">
  <ds:schemaRefs>
    <ds:schemaRef ds:uri="fdaf2857-34a0-4271-9efd-53feeda81814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eaa6d935-851e-4683-8fb3-4830ef9470e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349</TotalTime>
  <Words>1037</Words>
  <Application>Microsoft Office PowerPoint</Application>
  <PresentationFormat>On-screen Show (16:9)</PresentationFormat>
  <Paragraphs>148</Paragraphs>
  <Slides>42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ourier New</vt:lpstr>
      <vt:lpstr>Wingdings</vt:lpstr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Visualization of “therapist density” in NYC by zip code</vt:lpstr>
      <vt:lpstr>Zip codes with the highest “density” of therapists</vt:lpstr>
      <vt:lpstr>Zip codes with the lowest “density” of therapists</vt:lpstr>
      <vt:lpstr>Directions for future research</vt:lpstr>
      <vt:lpstr> Thank you! Q&amp;A</vt:lpstr>
    </vt:vector>
  </TitlesOfParts>
  <Company>GF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78</cp:revision>
  <cp:lastPrinted>2011-09-08T07:53:45Z</cp:lastPrinted>
  <dcterms:created xsi:type="dcterms:W3CDTF">2017-10-22T12:54:41Z</dcterms:created>
  <dcterms:modified xsi:type="dcterms:W3CDTF">2017-10-24T14:1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